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0EE776-563B-4DEC-AF9B-0EEBCC67C311}" v="79" dt="2024-09-05T04:37:34.7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5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lvia Hussa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Azure AD, VM, Networking: Manages identities, virtual machines, and network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Cloud Scalability and Elasticity: Adapts resources to demand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DDL, DML, DQL, DCL, TCL: Database operation command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Keys and Joins: Relational database concepts for logical querying</a:t>
            </a:r>
          </a:p>
          <a:p>
            <a:r>
              <a:rPr lang="en-US" sz="2000" dirty="0">
                <a:solidFill>
                  <a:srgbClr val="111111"/>
                </a:solidFill>
              </a:rPr>
              <a:t>Normalization removes redundancy in databases</a:t>
            </a:r>
            <a:endParaRPr lang="en-US" sz="2000" i="0" dirty="0">
              <a:solidFill>
                <a:srgbClr val="111111"/>
              </a:solidFill>
              <a:effectLst/>
            </a:endParaRP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146" name="Picture 2" descr="Different Normal Forms / Normalization in DBMS">
            <a:extLst>
              <a:ext uri="{FF2B5EF4-FFF2-40B4-BE49-F238E27FC236}">
                <a16:creationId xmlns:a16="http://schemas.microsoft.com/office/drawing/2014/main" id="{826F3673-0948-35AD-F007-508827244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755" y="1922765"/>
            <a:ext cx="5060793" cy="4014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Complex Integration: Integrating STLC with SDLC can be intricate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Use detailed documentation and collaboration tool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Tool Proficiency: Mastering diverse DevOps tools requires time and practice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Provide comprehensive training and hands-on workshop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Continuous Adaptation: Keeping up with evolving DevOps practices and technologies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Encourage continuous learning and regular updat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7170" name="Picture 2" descr="What Is DevOps? Complete Guide to Best Practices - Orange Matter">
            <a:extLst>
              <a:ext uri="{FF2B5EF4-FFF2-40B4-BE49-F238E27FC236}">
                <a16:creationId xmlns:a16="http://schemas.microsoft.com/office/drawing/2014/main" id="{470EC21E-DB85-B526-A617-9E000AA54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395" y="2221992"/>
            <a:ext cx="5312311" cy="322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Configuration Complexity: Setting up GitHub Actions and workflows can be intricate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Utilize templates and community resources for guidance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Security Management: Handling secrets and environment variables securely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Implement robust security policies and regular audit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Cloud Integration: Navigating various cloud services and deployment models.</a:t>
            </a:r>
          </a:p>
          <a:p>
            <a:pPr marL="457200" lvl="1" indent="0">
              <a:buNone/>
            </a:pPr>
            <a:r>
              <a:rPr lang="en-US" sz="2000" i="0" dirty="0">
                <a:solidFill>
                  <a:srgbClr val="111111"/>
                </a:solidFill>
                <a:effectLst/>
              </a:rPr>
              <a:t>Solution: Leverage cloud provider documentation and support service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194" name="Picture 2" descr="Demystifying GitHub Actions. GitHub Actions is a powerful and… | by ...">
            <a:extLst>
              <a:ext uri="{FF2B5EF4-FFF2-40B4-BE49-F238E27FC236}">
                <a16:creationId xmlns:a16="http://schemas.microsoft.com/office/drawing/2014/main" id="{418DE9B2-AACD-D18E-B04F-30F1FE9DA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2411975"/>
            <a:ext cx="5287599" cy="297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Complex Configurations: Setting up Azure AD, VMs, and networking.</a:t>
            </a:r>
          </a:p>
          <a:p>
            <a:pPr lvl="1"/>
            <a:r>
              <a:rPr lang="en-US" sz="2000" i="0" dirty="0">
                <a:solidFill>
                  <a:srgbClr val="111111"/>
                </a:solidFill>
                <a:effectLst/>
              </a:rPr>
              <a:t>Solution: Follow best practices and use automation tool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Database Management: Understanding various database types and operations.</a:t>
            </a:r>
          </a:p>
          <a:p>
            <a:pPr lvl="1"/>
            <a:r>
              <a:rPr lang="en-US" sz="2000" i="0" dirty="0">
                <a:solidFill>
                  <a:srgbClr val="111111"/>
                </a:solidFill>
                <a:effectLst/>
              </a:rPr>
              <a:t>Solution: Provide targeted training and use comprehensive documentation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Scalability Issues: Implementing cloud scalability and elasticity effectively.</a:t>
            </a:r>
          </a:p>
          <a:p>
            <a:pPr lvl="1"/>
            <a:r>
              <a:rPr lang="en-US" sz="2000" i="0" dirty="0">
                <a:solidFill>
                  <a:srgbClr val="111111"/>
                </a:solidFill>
                <a:effectLst/>
              </a:rPr>
              <a:t>Solution: Use scalable architecture patterns and performance monitoring tool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9218" name="Picture 2" descr="What is Database Management System (DBMS)? - Examples, Components">
            <a:extLst>
              <a:ext uri="{FF2B5EF4-FFF2-40B4-BE49-F238E27FC236}">
                <a16:creationId xmlns:a16="http://schemas.microsoft.com/office/drawing/2014/main" id="{57E0D3B1-82D7-45FF-1CCA-1B20BF770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676" y="2061870"/>
            <a:ext cx="5167152" cy="3875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ep learning on the given topics and prepare for next week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ush up on the given topics over the weekend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his activity demonstrates the power of communication and miscommunication.</a:t>
            </a:r>
          </a:p>
          <a:p>
            <a:r>
              <a:rPr lang="en-US" sz="2000" dirty="0"/>
              <a:t>Message sent from one end is received by multiple people in between to receive the final message which could be distorted due to miscommunication in betwee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D06D83-8E6B-6BB9-2595-D7B76DDAAF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61071" y="2587752"/>
            <a:ext cx="5362757" cy="296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Enhanced Efficiency: Streamlined workflows and improved productivity through DevOps, GitHub, and cloud practice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Improved Quality: Comprehensive testing and effective bug management ensure reliable software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Scalability and Security: Leveraging cloud services and secure practices enhances scalability and data protection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Revise core topics like DBMS, OS, etc.</a:t>
            </a:r>
          </a:p>
          <a:p>
            <a:pPr marL="457200" indent="-457200">
              <a:lnSpc>
                <a:spcPct val="100000"/>
              </a:lnSpc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800" dirty="0"/>
              <a:t>If it doesn’t challenge you,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800" dirty="0"/>
              <a:t>it doesn’t change you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  <p:pic>
        <p:nvPicPr>
          <p:cNvPr id="1026" name="Picture 2" descr="Image result for hardworking professional">
            <a:extLst>
              <a:ext uri="{FF2B5EF4-FFF2-40B4-BE49-F238E27FC236}">
                <a16:creationId xmlns:a16="http://schemas.microsoft.com/office/drawing/2014/main" id="{9E4C1F94-A57A-4FEA-844E-02A22DA9F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80" y="2185751"/>
            <a:ext cx="5037601" cy="335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100" b="1" dirty="0"/>
              <a:t>Key Learnings: Software Testing &amp; DevOps</a:t>
            </a:r>
          </a:p>
          <a:p>
            <a:r>
              <a:rPr lang="en-US" sz="1800" dirty="0"/>
              <a:t>STLC vs SDLC and its roles</a:t>
            </a:r>
          </a:p>
          <a:p>
            <a:r>
              <a:rPr lang="en-US" sz="1800" dirty="0"/>
              <a:t>Software failures</a:t>
            </a:r>
          </a:p>
          <a:p>
            <a:r>
              <a:rPr lang="en-US" sz="1800" dirty="0"/>
              <a:t>Phases of STLC and bug triage</a:t>
            </a:r>
          </a:p>
          <a:p>
            <a:r>
              <a:rPr lang="en-US" sz="1800" dirty="0"/>
              <a:t>Unit, integration, regression, functional tests</a:t>
            </a:r>
          </a:p>
          <a:p>
            <a:r>
              <a:rPr lang="en-US" sz="1800" dirty="0"/>
              <a:t>ESM (Enterprise Systems Management)</a:t>
            </a:r>
          </a:p>
          <a:p>
            <a:r>
              <a:rPr lang="en-US" sz="1800" dirty="0"/>
              <a:t>DevOps lifecycle and its importance</a:t>
            </a:r>
          </a:p>
          <a:p>
            <a:r>
              <a:rPr lang="en-US" sz="1800" dirty="0"/>
              <a:t>CI vs CD, DevOps Principles</a:t>
            </a:r>
          </a:p>
          <a:p>
            <a:r>
              <a:rPr lang="en-US" sz="1800" dirty="0"/>
              <a:t>DevOps benefits and tools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Software Testing Life Cycle (STLC) Explained | by Nandini Kusumpudi ...">
            <a:extLst>
              <a:ext uri="{FF2B5EF4-FFF2-40B4-BE49-F238E27FC236}">
                <a16:creationId xmlns:a16="http://schemas.microsoft.com/office/drawing/2014/main" id="{9440983B-623C-E10A-0C48-054D5E203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845" y="2434477"/>
            <a:ext cx="5294613" cy="292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4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Key Learnings: GitHub &amp; Cloud</a:t>
            </a:r>
          </a:p>
          <a:p>
            <a:r>
              <a:rPr lang="en-US" sz="2000" dirty="0"/>
              <a:t>GitHub actions, components and its benefits</a:t>
            </a:r>
          </a:p>
          <a:p>
            <a:r>
              <a:rPr lang="en-US" sz="2000" dirty="0"/>
              <a:t>GitHub events, jobs, runners, workflow, events</a:t>
            </a:r>
          </a:p>
          <a:p>
            <a:r>
              <a:rPr lang="en-US" sz="2000" dirty="0"/>
              <a:t>YAML syntax</a:t>
            </a:r>
          </a:p>
          <a:p>
            <a:r>
              <a:rPr lang="en-US" sz="2000" dirty="0"/>
              <a:t>Secrets and environment variables</a:t>
            </a:r>
          </a:p>
          <a:p>
            <a:r>
              <a:rPr lang="en-US" sz="2000" dirty="0"/>
              <a:t>Building pipelines and its advantages</a:t>
            </a:r>
          </a:p>
          <a:p>
            <a:r>
              <a:rPr lang="en-US" sz="2000" dirty="0"/>
              <a:t>Cloud Computing, Architecture &amp; Benefits</a:t>
            </a:r>
          </a:p>
          <a:p>
            <a:r>
              <a:rPr lang="en-US" sz="2000" dirty="0"/>
              <a:t>SaaS, PaaS, IaaS</a:t>
            </a:r>
          </a:p>
          <a:p>
            <a:r>
              <a:rPr lang="en-US" sz="2000" dirty="0"/>
              <a:t>Cloud Deployment Models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2" name="Picture 4" descr="Git, GitHub, &amp; Workflow Fundamentals - DEV Community">
            <a:extLst>
              <a:ext uri="{FF2B5EF4-FFF2-40B4-BE49-F238E27FC236}">
                <a16:creationId xmlns:a16="http://schemas.microsoft.com/office/drawing/2014/main" id="{A374BDE5-19AC-9C88-7091-C7084EB9E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1982295"/>
            <a:ext cx="5397759" cy="3833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Key Learnings: Cloud &amp; DBMS</a:t>
            </a:r>
          </a:p>
          <a:p>
            <a:r>
              <a:rPr lang="en-US" sz="2000" dirty="0"/>
              <a:t>Azure AD, VM and networking</a:t>
            </a:r>
          </a:p>
          <a:p>
            <a:r>
              <a:rPr lang="en-US" sz="2000" dirty="0"/>
              <a:t>Cloud Scalability and elasticity</a:t>
            </a:r>
          </a:p>
          <a:p>
            <a:r>
              <a:rPr lang="en-US" sz="2000" dirty="0"/>
              <a:t>IAC approaches: Declarative vs Imperative</a:t>
            </a:r>
          </a:p>
          <a:p>
            <a:r>
              <a:rPr lang="en-US" sz="2000" dirty="0"/>
              <a:t>DBMS, PostgreSQL vs SQL</a:t>
            </a:r>
          </a:p>
          <a:p>
            <a:r>
              <a:rPr lang="en-US" sz="2000" dirty="0"/>
              <a:t>Types of databases</a:t>
            </a:r>
          </a:p>
          <a:p>
            <a:r>
              <a:rPr lang="en-US" sz="2000" dirty="0"/>
              <a:t>DDL, DML, DQL, DCL, TCL</a:t>
            </a:r>
          </a:p>
          <a:p>
            <a:r>
              <a:rPr lang="en-US" sz="2000" dirty="0"/>
              <a:t>Primary, Secondary and Foreign Key, Joins</a:t>
            </a:r>
          </a:p>
          <a:p>
            <a:r>
              <a:rPr lang="en-US" sz="2000" dirty="0"/>
              <a:t>Normalization and its types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400" b="1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4" name="Picture 2" descr="Visual Representation of SQL Joins - CodeProject">
            <a:extLst>
              <a:ext uri="{FF2B5EF4-FFF2-40B4-BE49-F238E27FC236}">
                <a16:creationId xmlns:a16="http://schemas.microsoft.com/office/drawing/2014/main" id="{3B90FF41-5879-F0D7-B7BC-2E7DECAE8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159" y="1860993"/>
            <a:ext cx="5225986" cy="411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i="0" dirty="0">
              <a:solidFill>
                <a:srgbClr val="111111"/>
              </a:solidFill>
              <a:effectLst/>
            </a:endParaRP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Enhanced Quality Assurance: Reduces software failures, improves product quality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Efficient Bug Management: Systematic defect identification and resolution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Comprehensive Testing: Validates software across different scenario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Optimized IT Operations: Enhances efficiency, reduces downtime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Streamlined Development and Deployment: Accelerates release cycles, fosters team collaboration.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 descr="How To Optimize IT Operations?">
            <a:extLst>
              <a:ext uri="{FF2B5EF4-FFF2-40B4-BE49-F238E27FC236}">
                <a16:creationId xmlns:a16="http://schemas.microsoft.com/office/drawing/2014/main" id="{9AFE6A07-F033-12CF-D771-E87DC93B0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6250" y="1860993"/>
            <a:ext cx="3919608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0" dirty="0">
                <a:solidFill>
                  <a:srgbClr val="111111"/>
                </a:solidFill>
                <a:effectLst/>
              </a:rPr>
              <a:t>GitHub Actions: Automates workflows, enhances productivity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GitHub Events: Triggers actions, manages workflows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YAML Syntax: Defines workflows, easy configuration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Secrets and Environment Variables: Secures sensitive data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Building Pipelines: Streamlines development, improves efficiency.</a:t>
            </a:r>
          </a:p>
          <a:p>
            <a:r>
              <a:rPr lang="en-US" sz="2000" i="0" dirty="0">
                <a:solidFill>
                  <a:srgbClr val="111111"/>
                </a:solidFill>
                <a:effectLst/>
              </a:rPr>
              <a:t>Cloud Computing: Scalable resources eliminate the need for in house architecture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5122" name="Picture 2" descr="Benefits Of Cloud Computing [Infographic] | Poketors - Technology Blog">
            <a:extLst>
              <a:ext uri="{FF2B5EF4-FFF2-40B4-BE49-F238E27FC236}">
                <a16:creationId xmlns:a16="http://schemas.microsoft.com/office/drawing/2014/main" id="{606D4C1E-C58F-7E2D-D0E9-6BC6BEF14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099" y="2372789"/>
            <a:ext cx="5350707" cy="305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lvia journey ppt_week2</Template>
  <TotalTime>62</TotalTime>
  <Words>805</Words>
  <Application>Microsoft Office PowerPoint</Application>
  <PresentationFormat>Widescreen</PresentationFormat>
  <Paragraphs>120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ssain, Alvia A SBOBNG-PTIY/AGB</dc:creator>
  <cp:lastModifiedBy>Hussain, Alvia A SBOBNG-PTIY/AGB</cp:lastModifiedBy>
  <cp:revision>2</cp:revision>
  <dcterms:created xsi:type="dcterms:W3CDTF">2024-09-05T03:38:20Z</dcterms:created>
  <dcterms:modified xsi:type="dcterms:W3CDTF">2024-09-05T05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  <property fmtid="{D5CDD505-2E9C-101B-9397-08002B2CF9AE}" pid="5" name="MSIP_Label_d0cb1e24-a0e2-4a4c-9340-733297c9cd7c_Enabled">
    <vt:lpwstr>true</vt:lpwstr>
  </property>
  <property fmtid="{D5CDD505-2E9C-101B-9397-08002B2CF9AE}" pid="6" name="MSIP_Label_d0cb1e24-a0e2-4a4c-9340-733297c9cd7c_SetDate">
    <vt:lpwstr>2024-08-30T04:29:16Z</vt:lpwstr>
  </property>
  <property fmtid="{D5CDD505-2E9C-101B-9397-08002B2CF9AE}" pid="7" name="MSIP_Label_d0cb1e24-a0e2-4a4c-9340-733297c9cd7c_Method">
    <vt:lpwstr>Privileged</vt:lpwstr>
  </property>
  <property fmtid="{D5CDD505-2E9C-101B-9397-08002B2CF9AE}" pid="8" name="MSIP_Label_d0cb1e24-a0e2-4a4c-9340-733297c9cd7c_Name">
    <vt:lpwstr>Internal</vt:lpwstr>
  </property>
  <property fmtid="{D5CDD505-2E9C-101B-9397-08002B2CF9AE}" pid="9" name="MSIP_Label_d0cb1e24-a0e2-4a4c-9340-733297c9cd7c_SiteId">
    <vt:lpwstr>db1e96a8-a3da-442a-930b-235cac24cd5c</vt:lpwstr>
  </property>
  <property fmtid="{D5CDD505-2E9C-101B-9397-08002B2CF9AE}" pid="10" name="MSIP_Label_d0cb1e24-a0e2-4a4c-9340-733297c9cd7c_ActionId">
    <vt:lpwstr>283f99e9-173b-4cea-996b-e2789c5a38c8</vt:lpwstr>
  </property>
  <property fmtid="{D5CDD505-2E9C-101B-9397-08002B2CF9AE}" pid="11" name="MSIP_Label_d0cb1e24-a0e2-4a4c-9340-733297c9cd7c_ContentBits">
    <vt:lpwstr>0</vt:lpwstr>
  </property>
</Properties>
</file>